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0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52266AE8-F51F-40BA-A4B7-4B0D6766C13C}"/>
    <pc:docChg chg="modSld">
      <pc:chgData name="Weigel Stefan (PAR-EPS)" userId="fd3b2067-2981-4ad8-bf3a-d2e1004e4fa8" providerId="ADAL" clId="{52266AE8-F51F-40BA-A4B7-4B0D6766C13C}" dt="2024-02-28T08:02:32.303" v="25"/>
      <pc:docMkLst>
        <pc:docMk/>
      </pc:docMkLst>
      <pc:sldChg chg="modSp mod">
        <pc:chgData name="Weigel Stefan (PAR-EPS)" userId="fd3b2067-2981-4ad8-bf3a-d2e1004e4fa8" providerId="ADAL" clId="{52266AE8-F51F-40BA-A4B7-4B0D6766C13C}" dt="2024-02-28T08:02:32.303" v="25"/>
        <pc:sldMkLst>
          <pc:docMk/>
          <pc:sldMk cId="57003221" sldId="400"/>
        </pc:sldMkLst>
        <pc:spChg chg="mod">
          <ac:chgData name="Weigel Stefan (PAR-EPS)" userId="fd3b2067-2981-4ad8-bf3a-d2e1004e4fa8" providerId="ADAL" clId="{52266AE8-F51F-40BA-A4B7-4B0D6766C13C}" dt="2024-02-28T07:53:16.864" v="2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52266AE8-F51F-40BA-A4B7-4B0D6766C13C}" dt="2024-02-28T08:02:32.303" v="25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8BB56DF4-F735-496B-950F-08728B603B92}"/>
    <pc:docChg chg="delSld">
      <pc:chgData name="Meyer Raphael (PAR-ES)" userId="79615dfe-ed48-4e74-a40f-4f7b034c1c27" providerId="ADAL" clId="{8BB56DF4-F735-496B-950F-08728B603B92}" dt="2022-02-21T11:05:14.687" v="0" actId="47"/>
      <pc:docMkLst>
        <pc:docMk/>
      </pc:docMkLst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1838343115" sldId="402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3015962495" sldId="403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151144B7-34C6-42AF-9DC6-93259298E345}"/>
    <pc:docChg chg="modSld">
      <pc:chgData name="Meyer Raphael (PAR-ES)" userId="79615dfe-ed48-4e74-a40f-4f7b034c1c27" providerId="ADAL" clId="{151144B7-34C6-42AF-9DC6-93259298E345}" dt="2023-02-22T13:16:29.963" v="9" actId="20577"/>
      <pc:docMkLst>
        <pc:docMk/>
      </pc:docMkLst>
      <pc:sldChg chg="modSp mod">
        <pc:chgData name="Meyer Raphael (PAR-ES)" userId="79615dfe-ed48-4e74-a40f-4f7b034c1c27" providerId="ADAL" clId="{151144B7-34C6-42AF-9DC6-93259298E345}" dt="2023-02-22T13:16:29.963" v="9" actId="20577"/>
        <pc:sldMkLst>
          <pc:docMk/>
          <pc:sldMk cId="57003221" sldId="400"/>
        </pc:sldMkLst>
        <pc:spChg chg="mod">
          <ac:chgData name="Meyer Raphael (PAR-ES)" userId="79615dfe-ed48-4e74-a40f-4f7b034c1c27" providerId="ADAL" clId="{151144B7-34C6-42AF-9DC6-93259298E345}" dt="2023-02-22T13:16:29.963" v="9" actId="20577"/>
          <ac:spMkLst>
            <pc:docMk/>
            <pc:sldMk cId="57003221" sldId="400"/>
            <ac:spMk id="10" creationId="{A424E1BC-05C2-425D-871B-AFDD25022AB3}"/>
          </ac:spMkLst>
        </pc:spChg>
      </pc:sldChg>
    </pc:docChg>
  </pc:docChgLst>
  <pc:docChgLst>
    <pc:chgData name="Weigel Stefan (PAR-EPS)" userId="fd3b2067-2981-4ad8-bf3a-d2e1004e4fa8" providerId="ADAL" clId="{D81561D3-5E31-4CB8-8B0F-BE1FCFC5AF04}"/>
    <pc:docChg chg="modSld">
      <pc:chgData name="Weigel Stefan (PAR-EPS)" userId="fd3b2067-2981-4ad8-bf3a-d2e1004e4fa8" providerId="ADAL" clId="{D81561D3-5E31-4CB8-8B0F-BE1FCFC5AF04}" dt="2024-02-28T07:52:08.557" v="77" actId="27918"/>
      <pc:docMkLst>
        <pc:docMk/>
      </pc:docMkLst>
      <pc:sldChg chg="modSp mod">
        <pc:chgData name="Weigel Stefan (PAR-EPS)" userId="fd3b2067-2981-4ad8-bf3a-d2e1004e4fa8" providerId="ADAL" clId="{D81561D3-5E31-4CB8-8B0F-BE1FCFC5AF04}" dt="2024-02-28T07:52:08.557" v="77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D81561D3-5E31-4CB8-8B0F-BE1FCFC5AF04}" dt="2024-02-28T07:51:20.419" v="71" actId="1035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Weigel Stefan (PAR-EPS)" userId="fd3b2067-2981-4ad8-bf3a-d2e1004e4fa8" providerId="ADAL" clId="{D81561D3-5E31-4CB8-8B0F-BE1FCFC5AF04}" dt="2024-02-28T07:51:53.897" v="75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D81561D3-5E31-4CB8-8B0F-BE1FCFC5AF04}" dt="2024-02-28T07:51:36.280" v="73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D81561D3-5E31-4CB8-8B0F-BE1FCFC5AF04}" dt="2024-02-28T07:51:31.982" v="72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Weigel Stefan (PAR-EPS)" userId="fd3b2067-2981-4ad8-bf3a-d2e1004e4fa8" providerId="ADAL" clId="{01025939-259B-45ED-A9BC-B468CABB006D}"/>
    <pc:docChg chg="modSld">
      <pc:chgData name="Weigel Stefan (PAR-EPS)" userId="fd3b2067-2981-4ad8-bf3a-d2e1004e4fa8" providerId="ADAL" clId="{01025939-259B-45ED-A9BC-B468CABB006D}" dt="2024-04-12T08:17:11.738" v="52" actId="20577"/>
      <pc:docMkLst>
        <pc:docMk/>
      </pc:docMkLst>
      <pc:sldChg chg="addSp modSp mod">
        <pc:chgData name="Weigel Stefan (PAR-EPS)" userId="fd3b2067-2981-4ad8-bf3a-d2e1004e4fa8" providerId="ADAL" clId="{01025939-259B-45ED-A9BC-B468CABB006D}" dt="2024-04-12T08:17:11.738" v="52" actId="20577"/>
        <pc:sldMkLst>
          <pc:docMk/>
          <pc:sldMk cId="57003221" sldId="400"/>
        </pc:sldMkLst>
        <pc:spChg chg="add mod">
          <ac:chgData name="Weigel Stefan (PAR-EPS)" userId="fd3b2067-2981-4ad8-bf3a-d2e1004e4fa8" providerId="ADAL" clId="{01025939-259B-45ED-A9BC-B468CABB006D}" dt="2024-04-12T08:17:05.971" v="34" actId="20577"/>
          <ac:spMkLst>
            <pc:docMk/>
            <pc:sldMk cId="57003221" sldId="400"/>
            <ac:spMk id="2" creationId="{CB5B6383-6FF8-1F1E-2BE5-0AC67987A28E}"/>
          </ac:spMkLst>
        </pc:spChg>
        <pc:spChg chg="add mod">
          <ac:chgData name="Weigel Stefan (PAR-EPS)" userId="fd3b2067-2981-4ad8-bf3a-d2e1004e4fa8" providerId="ADAL" clId="{01025939-259B-45ED-A9BC-B468CABB006D}" dt="2024-04-12T08:17:11.738" v="52" actId="20577"/>
          <ac:spMkLst>
            <pc:docMk/>
            <pc:sldMk cId="57003221" sldId="400"/>
            <ac:spMk id="3" creationId="{2C5B6F70-F6F0-3F73-2D51-38323BD1B047}"/>
          </ac:spMkLst>
        </pc:spChg>
        <pc:spChg chg="mod">
          <ac:chgData name="Weigel Stefan (PAR-EPS)" userId="fd3b2067-2981-4ad8-bf3a-d2e1004e4fa8" providerId="ADAL" clId="{01025939-259B-45ED-A9BC-B468CABB006D}" dt="2024-04-08T13:54:41.423" v="7" actId="1035"/>
          <ac:spMkLst>
            <pc:docMk/>
            <pc:sldMk cId="57003221" sldId="400"/>
            <ac:spMk id="5" creationId="{92A937B8-76F1-40F4-B147-42962D317536}"/>
          </ac:spMkLst>
        </pc:spChg>
        <pc:graphicFrameChg chg="mod">
          <ac:chgData name="Weigel Stefan (PAR-EPS)" userId="fd3b2067-2981-4ad8-bf3a-d2e1004e4fa8" providerId="ADAL" clId="{01025939-259B-45ED-A9BC-B468CABB006D}" dt="2024-04-08T13:58:42.880" v="17" actId="207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01025939-259B-45ED-A9BC-B468CABB006D}" dt="2024-04-08T13:58:39.753" v="16" actId="207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2583198948716348"/>
          <c:w val="0.80645743150249427"/>
          <c:h val="0.58900002153073283"/>
        </c:manualLayout>
      </c:layout>
      <c:doughnutChart>
        <c:varyColors val="1"/>
        <c:ser>
          <c:idx val="8"/>
          <c:order val="0"/>
          <c:tx>
            <c:strRef>
              <c:f>data!$A$2</c:f>
              <c:strCache>
                <c:ptCount val="1"/>
                <c:pt idx="0">
                  <c:v>Identifier</c:v>
                </c:pt>
              </c:strCache>
            </c:strRef>
          </c:tx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82-494C-8C9A-52E95D3FDF26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82-494C-8C9A-52E95D3FDF26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82-494C-8C9A-52E95D3FDF26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82-494C-8C9A-52E95D3FDF26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82-494C-8C9A-52E95D3FDF26}"/>
              </c:ext>
            </c:extLst>
          </c:dPt>
          <c:cat>
            <c:strRef>
              <c:f>data!$F$3:$F$7</c:f>
              <c:strCache>
                <c:ptCount val="5"/>
                <c:pt idx="0">
                  <c:v>40% – Traffic revenue</c:v>
                </c:pt>
                <c:pt idx="1">
                  <c:v>6% – Rental income from real estate</c:v>
                </c:pt>
                <c:pt idx="2">
                  <c:v>14% – Other income</c:v>
                </c:pt>
                <c:pt idx="3">
                  <c:v>13% – Own work capitalised</c:v>
                </c:pt>
                <c:pt idx="4">
                  <c:v>28% – Public-sector funding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4577.5478142690199</c:v>
                </c:pt>
                <c:pt idx="1">
                  <c:v>685.68174177096</c:v>
                </c:pt>
                <c:pt idx="2">
                  <c:v>1584.25570858476</c:v>
                </c:pt>
                <c:pt idx="3">
                  <c:v>1429.4126206200001</c:v>
                </c:pt>
                <c:pt idx="4">
                  <c:v>3147.3578548324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82-494C-8C9A-52E95D3FD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"/>
          <c:y val="0.7780772617578785"/>
          <c:w val="0.65817314502551627"/>
          <c:h val="0.18485776396404879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4313050750492082"/>
          <c:w val="0.786749199244825"/>
          <c:h val="0.57871019757027164"/>
        </c:manualLayout>
      </c:layout>
      <c:doughnutChart>
        <c:varyColors val="1"/>
        <c:ser>
          <c:idx val="8"/>
          <c:order val="0"/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45-4689-BDD6-B55B5B4ABA67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45-4689-BDD6-B55B5B4ABA67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45-4689-BDD6-B55B5B4ABA67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45-4689-BDD6-B55B5B4ABA67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45-4689-BDD6-B55B5B4ABA67}"/>
              </c:ext>
            </c:extLst>
          </c:dPt>
          <c:cat>
            <c:strRef>
              <c:f>data!$F$3:$F$7</c:f>
              <c:strCache>
                <c:ptCount val="5"/>
                <c:pt idx="0">
                  <c:v>42% – Personnel expenses</c:v>
                </c:pt>
                <c:pt idx="1">
                  <c:v>8% – Cost of materials</c:v>
                </c:pt>
                <c:pt idx="2">
                  <c:v>11% – Third-party operating and maintenance services</c:v>
                </c:pt>
                <c:pt idx="3">
                  <c:v>16% – Other expenses</c:v>
                </c:pt>
                <c:pt idx="4">
                  <c:v>23% – Depreciation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-4685.2754837963803</c:v>
                </c:pt>
                <c:pt idx="1">
                  <c:v>-899.61867697369496</c:v>
                </c:pt>
                <c:pt idx="2">
                  <c:v>-1179.75748389456</c:v>
                </c:pt>
                <c:pt idx="3">
                  <c:v>-1739.2330630282599</c:v>
                </c:pt>
                <c:pt idx="4">
                  <c:v>-2545.942414120030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A-1445-4689-BDD6-B55B5B4A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1.1975308641975308E-4"/>
          <c:y val="0.78130886993356086"/>
          <c:w val="0.86080366081758064"/>
          <c:h val="0.18043260965604743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5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DECC79-EE51-48EB-A65E-A2A214B69F64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2934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19789262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9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9B23B171-CA74-4173-BBA6-57F61B8D6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6283899"/>
              </p:ext>
            </p:extLst>
          </p:nvPr>
        </p:nvGraphicFramePr>
        <p:xfrm>
          <a:off x="1964574" y="1188054"/>
          <a:ext cx="4002737" cy="548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25D658-4CAC-4D7D-8D2D-42B74A2C2D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090079"/>
              </p:ext>
            </p:extLst>
          </p:nvPr>
        </p:nvGraphicFramePr>
        <p:xfrm>
          <a:off x="6282877" y="1081261"/>
          <a:ext cx="4109246" cy="5586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424E1BC-05C2-425D-871B-AFDD25022AB3}"/>
              </a:ext>
            </a:extLst>
          </p:cNvPr>
          <p:cNvSpPr txBox="1">
            <a:spLocks/>
          </p:cNvSpPr>
          <p:nvPr/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 spc="6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Operating Income and Operating Expenses in 2023.</a:t>
            </a:r>
            <a:endParaRPr lang="de-CH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A937B8-76F1-40F4-B147-42962D317536}"/>
              </a:ext>
            </a:extLst>
          </p:cNvPr>
          <p:cNvSpPr txBox="1">
            <a:spLocks/>
          </p:cNvSpPr>
          <p:nvPr/>
        </p:nvSpPr>
        <p:spPr>
          <a:xfrm>
            <a:off x="8979921" y="6231421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1000" kern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B5B6383-6FF8-1F1E-2BE5-0AC67987A28E}"/>
              </a:ext>
            </a:extLst>
          </p:cNvPr>
          <p:cNvSpPr txBox="1"/>
          <p:nvPr/>
        </p:nvSpPr>
        <p:spPr>
          <a:xfrm>
            <a:off x="1494019" y="1522685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Operating Incom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C5B6F70-F6F0-3F73-2D51-38323BD1B047}"/>
              </a:ext>
            </a:extLst>
          </p:cNvPr>
          <p:cNvSpPr txBox="1"/>
          <p:nvPr/>
        </p:nvSpPr>
        <p:spPr>
          <a:xfrm>
            <a:off x="6283264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Operating </a:t>
            </a:r>
            <a:r>
              <a:rPr kumimoji="0" lang="de-CH" sz="14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xpenses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03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4F5BABE-F7A1-4117-ABCF-C59149FA83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96e82a89-ba48-4728-b345-cf206dbec8f1"/>
    <ds:schemaRef ds:uri="http://schemas.microsoft.com/office/infopath/2007/PartnerControls"/>
    <ds:schemaRef ds:uri="http://purl.org/dc/terms/"/>
    <ds:schemaRef ds:uri="http://schemas.microsoft.com/office/2006/documentManagement/types"/>
    <ds:schemaRef ds:uri="2f5c8543-cf23-4718-a3b8-32b0a91d511a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owerPoint-Präsentation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4-05-03T12:1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